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738FC2-C532-4963-B740-D2B09848C094}" v="23" dt="2023-01-20T16:57:44.2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ttore Minelli" userId="7870a1ad-01cf-4239-8cce-750deae7f4ef" providerId="ADAL" clId="{89738FC2-C532-4963-B740-D2B09848C094}"/>
    <pc:docChg chg="custSel addSld modSld modMainMaster replTag">
      <pc:chgData name="Ettore Minelli" userId="7870a1ad-01cf-4239-8cce-750deae7f4ef" providerId="ADAL" clId="{89738FC2-C532-4963-B740-D2B09848C094}" dt="2023-01-20T16:57:59.698" v="84" actId="478"/>
      <pc:docMkLst>
        <pc:docMk/>
      </pc:docMkLst>
      <pc:sldChg chg="addSp delSp modSp new add mod">
        <pc:chgData name="Ettore Minelli" userId="7870a1ad-01cf-4239-8cce-750deae7f4ef" providerId="ADAL" clId="{89738FC2-C532-4963-B740-D2B09848C094}" dt="2023-01-20T16:57:59.698" v="84" actId="478"/>
        <pc:sldMkLst>
          <pc:docMk/>
          <pc:sldMk cId="2790043245" sldId="256"/>
        </pc:sldMkLst>
        <pc:spChg chg="del">
          <ac:chgData name="Ettore Minelli" userId="7870a1ad-01cf-4239-8cce-750deae7f4ef" providerId="ADAL" clId="{89738FC2-C532-4963-B740-D2B09848C094}" dt="2023-01-20T16:57:21.440" v="2" actId="478"/>
          <ac:spMkLst>
            <pc:docMk/>
            <pc:sldMk cId="2790043245" sldId="256"/>
            <ac:spMk id="2" creationId="{097CAF55-F8B4-4E0A-B563-80BFE3D81C4A}"/>
          </ac:spMkLst>
        </pc:spChg>
        <pc:spChg chg="del">
          <ac:chgData name="Ettore Minelli" userId="7870a1ad-01cf-4239-8cce-750deae7f4ef" providerId="ADAL" clId="{89738FC2-C532-4963-B740-D2B09848C094}" dt="2023-01-20T16:57:21.440" v="2" actId="478"/>
          <ac:spMkLst>
            <pc:docMk/>
            <pc:sldMk cId="2790043245" sldId="256"/>
            <ac:spMk id="3" creationId="{C5181224-54EB-4C08-B532-EE1A364F0F0B}"/>
          </ac:spMkLst>
        </pc:spChg>
        <pc:graphicFrameChg chg="add mod modVis replST">
          <ac:chgData name="Ettore Minelli" userId="7870a1ad-01cf-4239-8cce-750deae7f4ef" providerId="ADAL" clId="{89738FC2-C532-4963-B740-D2B09848C094}" dt="2023-01-20T16:57:22.148" v="73"/>
          <ac:graphicFrameMkLst>
            <pc:docMk/>
            <pc:sldMk cId="2790043245" sldId="256"/>
            <ac:graphicFrameMk id="4" creationId="{0D0553D0-6A61-4F80-998D-80DEBB6CA666}"/>
          </ac:graphicFrameMkLst>
        </pc:graphicFrameChg>
        <pc:graphicFrameChg chg="add del mod">
          <ac:chgData name="Ettore Minelli" userId="7870a1ad-01cf-4239-8cce-750deae7f4ef" providerId="ADAL" clId="{89738FC2-C532-4963-B740-D2B09848C094}" dt="2023-01-20T16:57:33.122" v="76" actId="478"/>
          <ac:graphicFrameMkLst>
            <pc:docMk/>
            <pc:sldMk cId="2790043245" sldId="256"/>
            <ac:graphicFrameMk id="5" creationId="{65833820-F4E0-47B8-9AD3-EFDC99586001}"/>
          </ac:graphicFrameMkLst>
        </pc:graphicFrameChg>
        <pc:graphicFrameChg chg="add del mod">
          <ac:chgData name="Ettore Minelli" userId="7870a1ad-01cf-4239-8cce-750deae7f4ef" providerId="ADAL" clId="{89738FC2-C532-4963-B740-D2B09848C094}" dt="2023-01-20T16:57:36.868" v="77" actId="478"/>
          <ac:graphicFrameMkLst>
            <pc:docMk/>
            <pc:sldMk cId="2790043245" sldId="256"/>
            <ac:graphicFrameMk id="6" creationId="{2BCDCA38-1D08-4DEE-827E-B80844E404F1}"/>
          </ac:graphicFrameMkLst>
        </pc:graphicFrameChg>
        <pc:picChg chg="add del mod">
          <ac:chgData name="Ettore Minelli" userId="7870a1ad-01cf-4239-8cce-750deae7f4ef" providerId="ADAL" clId="{89738FC2-C532-4963-B740-D2B09848C094}" dt="2023-01-20T16:57:59.698" v="84" actId="478"/>
          <ac:picMkLst>
            <pc:docMk/>
            <pc:sldMk cId="2790043245" sldId="256"/>
            <ac:picMk id="8" creationId="{13E22CE3-64CA-4E5B-BF65-95046565A37A}"/>
          </ac:picMkLst>
        </pc:picChg>
      </pc:sldChg>
      <pc:sldMasterChg chg="addSp delSp modSp mod">
        <pc:chgData name="Ettore Minelli" userId="7870a1ad-01cf-4239-8cce-750deae7f4ef" providerId="ADAL" clId="{89738FC2-C532-4963-B740-D2B09848C094}" dt="2023-01-20T16:57:22.130" v="59"/>
        <pc:sldMasterMkLst>
          <pc:docMk/>
          <pc:sldMasterMk cId="1593611919" sldId="2147483648"/>
        </pc:sldMasterMkLst>
        <pc:spChg chg="mod">
          <ac:chgData name="Ettore Minelli" userId="7870a1ad-01cf-4239-8cce-750deae7f4ef" providerId="ADAL" clId="{89738FC2-C532-4963-B740-D2B09848C094}" dt="2023-01-20T16:57:21.934" v="3" actId="948"/>
          <ac:spMkLst>
            <pc:docMk/>
            <pc:sldMasterMk cId="1593611919" sldId="2147483648"/>
            <ac:spMk id="2" creationId="{0F4112DE-A2EA-4CD5-9038-E7FD922FF23A}"/>
          </ac:spMkLst>
        </pc:spChg>
        <pc:spChg chg="add del mod modVis">
          <ac:chgData name="Ettore Minelli" userId="7870a1ad-01cf-4239-8cce-750deae7f4ef" providerId="ADAL" clId="{89738FC2-C532-4963-B740-D2B09848C094}" dt="2023-01-20T16:57:22.098" v="43"/>
          <ac:spMkLst>
            <pc:docMk/>
            <pc:sldMasterMk cId="1593611919" sldId="2147483648"/>
            <ac:spMk id="7" creationId="{55A24AE3-7E13-41A2-9DAB-80AF3634A057}"/>
          </ac:spMkLst>
        </pc:spChg>
        <pc:graphicFrameChg chg="add mod ord modVis replST">
          <ac:chgData name="Ettore Minelli" userId="7870a1ad-01cf-4239-8cce-750deae7f4ef" providerId="ADAL" clId="{89738FC2-C532-4963-B740-D2B09848C094}" dt="2023-01-20T16:57:22.130" v="59"/>
          <ac:graphicFrameMkLst>
            <pc:docMk/>
            <pc:sldMasterMk cId="1593611919" sldId="2147483648"/>
            <ac:graphicFrameMk id="8" creationId="{D92628C0-41A5-4190-B380-686461703F76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BBEF7C-F343-4A19-ABD8-E6F4BC7889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86FB86-B397-4CCC-BAED-6C5E8F4BD6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F5E2B3-1674-4619-AAC0-A8A8775A7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9CB23E-2366-4F51-867C-6252E26F3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DFB90C-37D6-414C-8ED6-A08E11C85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098404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76911C-84AB-438F-82C0-E9EE4FD9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98581F-13F2-4C26-9866-95A08B967C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A25A1F-C0AB-409A-8156-70A48D523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ED5D14-5A16-4328-9CF6-72CE75AD24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98B108-6A2E-45BD-A9AA-73E0E0D66F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73803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5CFDE76-0B7A-4BBC-ACEF-D301C80C0A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256EC0-C0DE-4F04-AFFE-16698CC0F1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5BB10F-BA50-4A2F-8FB7-80842720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68595C-F03E-45FB-A859-F84D2A276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61CC9-C63B-422E-88F6-8FB1735940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58217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FA2A5-C7C7-4EA6-9C00-7AF504F9A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2DD6EB-CD6A-4AB0-9FC3-87BDDC4580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91123E-EF36-4CDB-92F4-B2E58262FF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1C3C8E-965F-4554-AB96-2BC919AA4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A138DE-0D26-4ED4-B523-CB86E2B772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10708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62666-7A7D-4C39-94D4-1A0EB51389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F6B221-21F4-475B-B94B-573DFDA03C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064DC1-5D0A-4FBC-BE39-EF4E4D1F7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7559F0-2D87-4E03-8343-08684389B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23240A-8384-45FB-A3D1-5AE0886D1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887865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6AE28-7EDE-41F6-8A95-8FA1D311C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DDD389-3FAD-4E17-8198-9110271996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19B013-9DB6-4F85-8A23-B4C886DC68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17FD13-FABA-472E-BC48-649B51C89C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71DA06-C574-4D8B-924B-B2F7343D3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8BBEF3-F469-45F1-B6B2-21A55E947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459059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A8886-CEE1-4C6E-A53D-3ABC33C16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D98A23-362A-4D63-87CA-0AEEA1135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40F69D-3744-498E-BE5B-9DF3E99B52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DC86D8-6A76-4812-9034-E864DE82BF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40836E-4BD6-417B-9431-BDBBB37BEF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815E2F-8EFB-4C9B-9FC2-5CCCEEA4F9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7AAB25-E72F-48A6-A632-EFBD699B4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0345AC-3B13-415E-8FAB-CBD721535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209513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DCD75-94C9-4C00-994F-4071B9C05B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76489F-06BC-415D-A081-F6EE7F446C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63E49C-F06F-4745-AD33-5E8CED1E1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235244-7B29-47CF-AC9E-DE3DD1916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10917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FBC790-9FD5-4470-836A-76F7A1D0DD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B92540-5949-4144-B7C7-BD62253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9E50AD-C727-4031-B9B0-A718693E5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64569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D6363-59A3-411E-B6A4-A78006BBF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A170A4-84BE-4B1D-8198-A241C515FF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DCB65E-A3E0-4A1A-99DC-2E65577B2E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8AA1F3-353F-43E6-A747-876F7C7DC8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E4E2EC-994D-4A8A-ABB3-BD4A52C673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6D046-7661-4FAD-A066-AC918B04B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62552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0B200-787D-48C7-BCAD-60E716600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2B93AB-68C0-41C5-8F5C-C23C04D95E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DDE82B-697B-48FE-A2B6-65B30C6067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52DAD5-1164-441A-BBA9-AF281304DB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A0C47B-9748-41D9-A145-141564E79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3CF865-1F43-49B0-9671-D00980974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340614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92628C0-41A5-4190-B380-686461703F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66073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92628C0-41A5-4190-B380-686461703F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4112DE-A2EA-4CD5-9038-E7FD922FF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069957-6596-414D-B041-5E7C0C8C12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5125BF-88D3-4345-B1DA-4B287B03CF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56B1D3-8CE1-4088-9E54-864FFA103046}" type="datetimeFigureOut">
              <a:rPr lang="it-IT" smtClean="0"/>
              <a:t>20/01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91EA86-F50A-4D4E-8A37-5A4F7B2257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E5069A-79C5-4A9E-BC77-88CC9BA00C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336B2-423D-406C-B7F2-CA04C3343100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93611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D0553D0-6A61-4F80-998D-80DEBB6CA6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7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D0553D0-6A61-4F80-998D-80DEBB6CA6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900432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ttore Minelli</dc:creator>
  <cp:lastModifiedBy>Ettore Minelli</cp:lastModifiedBy>
  <cp:revision>1</cp:revision>
  <dcterms:created xsi:type="dcterms:W3CDTF">2023-01-20T16:57:02Z</dcterms:created>
  <dcterms:modified xsi:type="dcterms:W3CDTF">2023-01-20T16:5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Date">
    <vt:lpwstr/>
  </property>
  <property fmtid="{D5CDD505-2E9C-101B-9397-08002B2CF9AE}" pid="3" name="WppReportVersion">
    <vt:lpwstr>Version 1.0</vt:lpwstr>
  </property>
  <property fmtid="{D5CDD505-2E9C-101B-9397-08002B2CF9AE}" pid="4" name="WppReportDraft">
    <vt:lpwstr>(Draft)</vt:lpwstr>
  </property>
  <property fmtid="{D5CDD505-2E9C-101B-9397-08002B2CF9AE}" pid="5" name="WppReportCurrencySymbol">
    <vt:lpwstr>$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23-01-20T15:57:03Z</vt:filetime>
  </property>
</Properties>
</file>